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BAD05C99-2364-4E0D-A291-8530A2923B7C}">
          <p14:sldIdLst>
            <p14:sldId id="2147475173"/>
            <p14:sldId id="2147475174"/>
            <p14:sldId id="2147475175"/>
            <p14:sldId id="2147475176"/>
            <p14:sldId id="2147475177"/>
            <p14:sldId id="2147475178"/>
            <p14:sldId id="2147475179"/>
            <p14:sldId id="2147475180"/>
            <p14:sldId id="2147475181"/>
          </p14:sldIdLst>
        </p14:section>
        <p14:section name="Brackets By Segment" id="{BF2340ED-FDF3-4B39-B492-555116C9F006}">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748116187982351</c:v>
                </c:pt>
                <c:pt idx="2">
                  <c:v>0.0007621540983895441</c:v>
                </c:pt>
                <c:pt idx="3">
                  <c:v>0.012324022064329492</c:v>
                </c:pt>
                <c:pt idx="4">
                  <c:v>0.003722738334853259</c:v>
                </c:pt>
                <c:pt idx="6">
                  <c:v>0.01048779443065141</c:v>
                </c:pt>
                <c:pt idx="7">
                  <c:v>0.020445255855206516</c:v>
                </c:pt>
                <c:pt idx="8">
                  <c:v>0.00292881155437045</c:v>
                </c:pt>
                <c:pt idx="9">
                  <c:v>0.0115904137661613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36451473003585645</c:v>
                </c:pt>
                <c:pt idx="6">
                  <c:v>0.0017075965277870697</c:v>
                </c:pt>
                <c:pt idx="7">
                  <c:v>0.005933064818146035</c:v>
                </c:pt>
                <c:pt idx="9">
                  <c:v>0.00275913617300504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6062127669666175</c:v>
                </c:pt>
                <c:pt idx="4">
                  <c:v>0.0035369017885107774</c:v>
                </c:pt>
                <c:pt idx="5">
                  <c:v>0.004224226855417358</c:v>
                </c:pt>
                <c:pt idx="6">
                  <c:v>0.02273408190630583</c:v>
                </c:pt>
                <c:pt idx="7">
                  <c:v>0.005115878144192976</c:v>
                </c:pt>
                <c:pt idx="8">
                  <c:v>0.04236172119681482</c:v>
                </c:pt>
                <c:pt idx="10">
                  <c:v>0.0050337383973985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6044301170717824</c:v>
                </c:pt>
                <c:pt idx="3">
                  <c:v>0.005326441898105691</c:v>
                </c:pt>
                <c:pt idx="4">
                  <c:v>0.008128931562217888</c:v>
                </c:pt>
                <c:pt idx="5">
                  <c:v>0.011814633175798995</c:v>
                </c:pt>
                <c:pt idx="6">
                  <c:v>0.0037285724745047613</c:v>
                </c:pt>
                <c:pt idx="7">
                  <c:v>0.03295273784667</c:v>
                </c:pt>
                <c:pt idx="8">
                  <c:v>0.019281564892466</c:v>
                </c:pt>
                <c:pt idx="9">
                  <c:v>0.033300692341397944</c:v>
                </c:pt>
                <c:pt idx="10">
                  <c:v>0.0202512903604509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3315293035130803</c:v>
                </c:pt>
                <c:pt idx="1">
                  <c:v>0.006204811080744046</c:v>
                </c:pt>
                <c:pt idx="2">
                  <c:v>0.004201892603418437</c:v>
                </c:pt>
                <c:pt idx="3">
                  <c:v>0.007040837054114585</c:v>
                </c:pt>
                <c:pt idx="4">
                  <c:v>0.026102892554746494</c:v>
                </c:pt>
                <c:pt idx="5">
                  <c:v>0.013144414653011565</c:v>
                </c:pt>
                <c:pt idx="6">
                  <c:v>0.061355545112520615</c:v>
                </c:pt>
                <c:pt idx="7">
                  <c:v>0.02558516273098455</c:v>
                </c:pt>
                <c:pt idx="8">
                  <c:v>0.00623747197217021</c:v>
                </c:pt>
                <c:pt idx="9">
                  <c:v>0.00149760274571419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5543481411967156</c:v>
                </c:pt>
                <c:pt idx="4">
                  <c:v>0.0012593493713512057</c:v>
                </c:pt>
                <c:pt idx="5">
                  <c:v>0.005165281363487752</c:v>
                </c:pt>
                <c:pt idx="6">
                  <c:v>0.013863694031494112</c:v>
                </c:pt>
                <c:pt idx="7">
                  <c:v>0.04691435769675467</c:v>
                </c:pt>
                <c:pt idx="8">
                  <c:v>0.014322560724192992</c:v>
                </c:pt>
                <c:pt idx="9">
                  <c:v>0.011915189920600387</c:v>
                </c:pt>
                <c:pt idx="10">
                  <c:v>0.00449520505169723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501904560902816</c:v>
                </c:pt>
                <c:pt idx="7">
                  <c:v>0.014970832879663212</c:v>
                </c:pt>
                <c:pt idx="8">
                  <c:v>0.0039358915952222495</c:v>
                </c:pt>
                <c:pt idx="10">
                  <c:v>0.00141739866496482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683280720899879</c:v>
                </c:pt>
                <c:pt idx="1">
                  <c:v>0.009880025263925264</c:v>
                </c:pt>
                <c:pt idx="4">
                  <c:v>0.001581206590789193</c:v>
                </c:pt>
                <c:pt idx="5">
                  <c:v>0.02103873803653275</c:v>
                </c:pt>
                <c:pt idx="8">
                  <c:v>0.0279463314705986</c:v>
                </c:pt>
                <c:pt idx="10">
                  <c:v>0.00097607246652277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8283245987377687</c:v>
                </c:pt>
                <c:pt idx="2">
                  <c:v>0.011445622084013184</c:v>
                </c:pt>
                <c:pt idx="3">
                  <c:v>0.014343872319305563</c:v>
                </c:pt>
                <c:pt idx="4">
                  <c:v>0.002566717425559086</c:v>
                </c:pt>
                <c:pt idx="6">
                  <c:v>0.00950888396172406</c:v>
                </c:pt>
                <c:pt idx="7">
                  <c:v>0.018717785323265373</c:v>
                </c:pt>
                <c:pt idx="8">
                  <c:v>0.0020299049094862636</c:v>
                </c:pt>
                <c:pt idx="9">
                  <c:v>0.015938341218211215</c:v>
                </c:pt>
                <c:pt idx="10">
                  <c:v>0.0010126021544095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129154532006021</c:v>
                </c:pt>
                <c:pt idx="5">
                  <c:v>0.001504742631272532</c:v>
                </c:pt>
                <c:pt idx="8">
                  <c:v>0.005590410653775849</c:v>
                </c:pt>
                <c:pt idx="9">
                  <c:v>0.00411571560779613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735036368468147</c:v>
                </c:pt>
                <c:pt idx="4">
                  <c:v>0.004170661023724595</c:v>
                </c:pt>
                <c:pt idx="5">
                  <c:v>0.020283041246656135</c:v>
                </c:pt>
                <c:pt idx="6">
                  <c:v>0.003537136670507464</c:v>
                </c:pt>
                <c:pt idx="7">
                  <c:v>0.04972458387730475</c:v>
                </c:pt>
                <c:pt idx="8">
                  <c:v>0.0045530927802575226</c:v>
                </c:pt>
                <c:pt idx="10">
                  <c:v>0.00536529059072900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07055792695932128</c:v>
                </c:pt>
                <c:pt idx="10">
                  <c:v>0.000587254142446190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6817300093635132</c:v>
                </c:pt>
                <c:pt idx="3">
                  <c:v>0.0061487931777396134</c:v>
                </c:pt>
                <c:pt idx="4">
                  <c:v>0.008266247999616144</c:v>
                </c:pt>
                <c:pt idx="5">
                  <c:v>0.01436010637779434</c:v>
                </c:pt>
                <c:pt idx="6">
                  <c:v>0.003559703800256386</c:v>
                </c:pt>
                <c:pt idx="7">
                  <c:v>0.038876183071099475</c:v>
                </c:pt>
                <c:pt idx="8">
                  <c:v>0.030279369167794137</c:v>
                </c:pt>
                <c:pt idx="9">
                  <c:v>0.0203298471756407</c:v>
                </c:pt>
                <c:pt idx="10">
                  <c:v>0.03347872570488808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983468920060802</c:v>
                </c:pt>
                <c:pt idx="1">
                  <c:v>0.0032359952530303083</c:v>
                </c:pt>
                <c:pt idx="2">
                  <c:v>0.0041514543824651</c:v>
                </c:pt>
                <c:pt idx="3">
                  <c:v>0.006317294522084046</c:v>
                </c:pt>
                <c:pt idx="4">
                  <c:v>0.025210930982258822</c:v>
                </c:pt>
                <c:pt idx="5">
                  <c:v>0.06588032705972598</c:v>
                </c:pt>
                <c:pt idx="6">
                  <c:v>0.014166645137899279</c:v>
                </c:pt>
                <c:pt idx="7">
                  <c:v>0.007121340595957358</c:v>
                </c:pt>
                <c:pt idx="8">
                  <c:v>0.03010983721920337</c:v>
                </c:pt>
                <c:pt idx="10">
                  <c:v>0.00222700837991907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695392693924818</c:v>
                </c:pt>
                <c:pt idx="1">
                  <c:v>0.005180330610900752</c:v>
                </c:pt>
                <c:pt idx="2">
                  <c:v>0.019751447083304438</c:v>
                </c:pt>
                <c:pt idx="3">
                  <c:v>0.018021381861367713</c:v>
                </c:pt>
                <c:pt idx="4">
                  <c:v>0.058820898666405046</c:v>
                </c:pt>
                <c:pt idx="5">
                  <c:v>0.02542298719734325</c:v>
                </c:pt>
                <c:pt idx="6">
                  <c:v>0.12290457873334826</c:v>
                </c:pt>
                <c:pt idx="7">
                  <c:v>0.20046675755991802</c:v>
                </c:pt>
                <c:pt idx="8">
                  <c:v>0.06054273212066901</c:v>
                </c:pt>
                <c:pt idx="9">
                  <c:v>0.028608372595414815</c:v>
                </c:pt>
                <c:pt idx="10">
                  <c:v>0.073756300257498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734815821609363</c:v>
                </c:pt>
                <c:pt idx="4">
                  <c:v>0.0029885767359849693</c:v>
                </c:pt>
                <c:pt idx="5">
                  <c:v>0.00372516886362787</c:v>
                </c:pt>
                <c:pt idx="6">
                  <c:v>0.012231245494500597</c:v>
                </c:pt>
                <c:pt idx="7">
                  <c:v>0.013711795875223731</c:v>
                </c:pt>
                <c:pt idx="8">
                  <c:v>0.04813655829654773</c:v>
                </c:pt>
                <c:pt idx="9">
                  <c:v>0.0070262163140070825</c:v>
                </c:pt>
                <c:pt idx="10">
                  <c:v>0.01431969721827215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640974592947153</c:v>
                </c:pt>
                <c:pt idx="7">
                  <c:v>0.0028472287919499976</c:v>
                </c:pt>
                <c:pt idx="8">
                  <c:v>0.014901809772497339</c:v>
                </c:pt>
                <c:pt idx="9">
                  <c:v>0.0024272371454792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612531659282514</c:v>
                </c:pt>
                <c:pt idx="1">
                  <c:v>0.009144575977012723</c:v>
                </c:pt>
                <c:pt idx="4">
                  <c:v>0.0021622901898100673</c:v>
                </c:pt>
                <c:pt idx="6">
                  <c:v>0.014983277323218287</c:v>
                </c:pt>
                <c:pt idx="7">
                  <c:v>0.026652613209967556</c:v>
                </c:pt>
                <c:pt idx="10">
                  <c:v>0.00082345769268100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129154532006021</c:v>
                </c:pt>
                <c:pt idx="5">
                  <c:v>0.001504742631272532</c:v>
                </c:pt>
                <c:pt idx="8">
                  <c:v>0.006295989923369062</c:v>
                </c:pt>
                <c:pt idx="9">
                  <c:v>0.0047029697502423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5360275196546936</c:v>
                </c:pt>
                <c:pt idx="3">
                  <c:v>0.010556050884521962</c:v>
                </c:pt>
                <c:pt idx="5">
                  <c:v>0.010404744901293957</c:v>
                </c:pt>
                <c:pt idx="7">
                  <c:v>0.017657706587330464</c:v>
                </c:pt>
                <c:pt idx="9">
                  <c:v>0.0098319374367049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8474788056236087</c:v>
                </c:pt>
                <c:pt idx="5">
                  <c:v>0.0018326672818652619</c:v>
                </c:pt>
                <c:pt idx="8">
                  <c:v>0.004602442909145381</c:v>
                </c:pt>
                <c:pt idx="9">
                  <c:v>0.002367656954437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9944226281113691</c:v>
                </c:pt>
                <c:pt idx="4">
                  <c:v>0.004602225492011705</c:v>
                </c:pt>
                <c:pt idx="5">
                  <c:v>0.020869756979426776</c:v>
                </c:pt>
                <c:pt idx="7">
                  <c:v>0.03703542711868748</c:v>
                </c:pt>
                <c:pt idx="9">
                  <c:v>0.00396402662715878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77646607257922775</c:v>
                </c:pt>
                <c:pt idx="6">
                  <c:v>0.010109201833736462</c:v>
                </c:pt>
                <c:pt idx="7">
                  <c:v>0.033744871378496306</c:v>
                </c:pt>
                <c:pt idx="8">
                  <c:v>0.0007128312038116128</c:v>
                </c:pt>
                <c:pt idx="9">
                  <c:v>0.0344050244002559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4819724022557313</c:v>
                </c:pt>
                <c:pt idx="6">
                  <c:v>0.0005666992225728331</c:v>
                </c:pt>
                <c:pt idx="7">
                  <c:v>0.0006014457752455238</c:v>
                </c:pt>
                <c:pt idx="9">
                  <c:v>0.0010755057623986581</c:v>
                </c:pt>
                <c:pt idx="10">
                  <c:v>0.0142688701361109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8818946589602517</c:v>
                </c:pt>
                <c:pt idx="1">
                  <c:v>0.008101246606182489</c:v>
                </c:pt>
                <c:pt idx="4">
                  <c:v>0.026235159241452824</c:v>
                </c:pt>
                <c:pt idx="6">
                  <c:v>0.052546900470932335</c:v>
                </c:pt>
                <c:pt idx="8">
                  <c:v>0.022457336889531127</c:v>
                </c:pt>
                <c:pt idx="10">
                  <c:v>0.00167735329193442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840399175129058</c:v>
                </c:pt>
                <c:pt idx="5">
                  <c:v>0.013447189324231</c:v>
                </c:pt>
                <c:pt idx="7">
                  <c:v>0.039921004369163564</c:v>
                </c:pt>
                <c:pt idx="9">
                  <c:v>0.007560843531186885</c:v>
                </c:pt>
                <c:pt idx="12">
                  <c:v>0.00211240284488017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458788053689607</c:v>
                </c:pt>
                <c:pt idx="8">
                  <c:v>0.012883997949469383</c:v>
                </c:pt>
                <c:pt idx="9">
                  <c:v>0.00139418594867226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1114729787989533</c:v>
                </c:pt>
                <c:pt idx="4">
                  <c:v>0.0016470285753811377</c:v>
                </c:pt>
                <c:pt idx="6">
                  <c:v>0.032902193120447835</c:v>
                </c:pt>
                <c:pt idx="7">
                  <c:v>0.03710984204051249</c:v>
                </c:pt>
                <c:pt idx="10">
                  <c:v>0.00131952163660568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748116187982351</c:v>
                </c:pt>
                <c:pt idx="2">
                  <c:v>0.0007621540983895441</c:v>
                </c:pt>
                <c:pt idx="3">
                  <c:v>0.012324022064329492</c:v>
                </c:pt>
                <c:pt idx="4">
                  <c:v>0.003722738334853259</c:v>
                </c:pt>
                <c:pt idx="6">
                  <c:v>0.01048779443065141</c:v>
                </c:pt>
                <c:pt idx="7">
                  <c:v>0.020445255855206516</c:v>
                </c:pt>
                <c:pt idx="8">
                  <c:v>0.00292881155437045</c:v>
                </c:pt>
                <c:pt idx="9">
                  <c:v>0.0115904137661613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649103290439469</c:v>
                </c:pt>
                <c:pt idx="3">
                  <c:v>0.0038405875699152707</c:v>
                </c:pt>
                <c:pt idx="5">
                  <c:v>0.002419551684516405</c:v>
                </c:pt>
                <c:pt idx="8">
                  <c:v>0.004713507868072585</c:v>
                </c:pt>
                <c:pt idx="9">
                  <c:v>0.000938812310115034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6062127669666175</c:v>
                </c:pt>
                <c:pt idx="4">
                  <c:v>0.0035369017885107774</c:v>
                </c:pt>
                <c:pt idx="5">
                  <c:v>0.004224226855417358</c:v>
                </c:pt>
                <c:pt idx="6">
                  <c:v>0.02273408190630583</c:v>
                </c:pt>
                <c:pt idx="7">
                  <c:v>0.005115878144192976</c:v>
                </c:pt>
                <c:pt idx="8">
                  <c:v>0.04236172119681482</c:v>
                </c:pt>
                <c:pt idx="10">
                  <c:v>0.0050337383973985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468612647561428</c:v>
                </c:pt>
                <c:pt idx="7">
                  <c:v>0.0091747125764599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6044301170717824</c:v>
                </c:pt>
                <c:pt idx="3">
                  <c:v>0.005326441898105691</c:v>
                </c:pt>
                <c:pt idx="4">
                  <c:v>0.008128931562217888</c:v>
                </c:pt>
                <c:pt idx="5">
                  <c:v>0.011814633175798995</c:v>
                </c:pt>
                <c:pt idx="6">
                  <c:v>0.0037285724745047613</c:v>
                </c:pt>
                <c:pt idx="7">
                  <c:v>0.03295273784667</c:v>
                </c:pt>
                <c:pt idx="8">
                  <c:v>0.019281564892466</c:v>
                </c:pt>
                <c:pt idx="9">
                  <c:v>0.033300692341397944</c:v>
                </c:pt>
                <c:pt idx="10">
                  <c:v>0.0202512903604509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3315293035130803</c:v>
                </c:pt>
                <c:pt idx="1">
                  <c:v>0.006204811080744046</c:v>
                </c:pt>
                <c:pt idx="2">
                  <c:v>0.004201892603418437</c:v>
                </c:pt>
                <c:pt idx="3">
                  <c:v>0.007040837054114585</c:v>
                </c:pt>
                <c:pt idx="4">
                  <c:v>0.026102892554746494</c:v>
                </c:pt>
                <c:pt idx="5">
                  <c:v>0.013144414653011565</c:v>
                </c:pt>
                <c:pt idx="6">
                  <c:v>0.061355545112520615</c:v>
                </c:pt>
                <c:pt idx="7">
                  <c:v>0.02558516273098455</c:v>
                </c:pt>
                <c:pt idx="8">
                  <c:v>0.00623747197217021</c:v>
                </c:pt>
                <c:pt idx="9">
                  <c:v>0.00149760274571419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5543481411967156</c:v>
                </c:pt>
                <c:pt idx="4">
                  <c:v>0.0012593493713512057</c:v>
                </c:pt>
                <c:pt idx="5">
                  <c:v>0.005165281363487752</c:v>
                </c:pt>
                <c:pt idx="6">
                  <c:v>0.013863694031494112</c:v>
                </c:pt>
                <c:pt idx="7">
                  <c:v>0.04691435769675467</c:v>
                </c:pt>
                <c:pt idx="8">
                  <c:v>0.014322560724192992</c:v>
                </c:pt>
                <c:pt idx="9">
                  <c:v>0.011915189920600387</c:v>
                </c:pt>
                <c:pt idx="10">
                  <c:v>0.00449520505169723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501904560902816</c:v>
                </c:pt>
                <c:pt idx="7">
                  <c:v>0.014970832879663212</c:v>
                </c:pt>
                <c:pt idx="8">
                  <c:v>0.0039358915952222495</c:v>
                </c:pt>
                <c:pt idx="10">
                  <c:v>0.00141739866496482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683280720899879</c:v>
                </c:pt>
                <c:pt idx="1">
                  <c:v>0.009880025263925264</c:v>
                </c:pt>
                <c:pt idx="4">
                  <c:v>0.001581206590789193</c:v>
                </c:pt>
                <c:pt idx="5">
                  <c:v>0.02103873803653275</c:v>
                </c:pt>
                <c:pt idx="8">
                  <c:v>0.0279463314705986</c:v>
                </c:pt>
                <c:pt idx="10">
                  <c:v>0.00097607246652277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8283245987377687</c:v>
                </c:pt>
                <c:pt idx="2">
                  <c:v>0.011445622084013184</c:v>
                </c:pt>
                <c:pt idx="3">
                  <c:v>0.014343872319305563</c:v>
                </c:pt>
                <c:pt idx="4">
                  <c:v>0.002566717425559086</c:v>
                </c:pt>
                <c:pt idx="6">
                  <c:v>0.00950888396172406</c:v>
                </c:pt>
                <c:pt idx="7">
                  <c:v>0.018717785323265373</c:v>
                </c:pt>
                <c:pt idx="8">
                  <c:v>0.0020299049094862636</c:v>
                </c:pt>
                <c:pt idx="9">
                  <c:v>0.015938341218211215</c:v>
                </c:pt>
                <c:pt idx="10">
                  <c:v>0.0010126021544095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0812154895849335</c:v>
                </c:pt>
                <c:pt idx="3">
                  <c:v>0.0053404629914445435</c:v>
                </c:pt>
                <c:pt idx="5">
                  <c:v>0.0006635302896854183</c:v>
                </c:pt>
                <c:pt idx="8">
                  <c:v>0.006641506121779015</c:v>
                </c:pt>
                <c:pt idx="9">
                  <c:v>0.00140489488263383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735036368468147</c:v>
                </c:pt>
                <c:pt idx="4">
                  <c:v>0.004170661023724595</c:v>
                </c:pt>
                <c:pt idx="5">
                  <c:v>0.020283041246656135</c:v>
                </c:pt>
                <c:pt idx="6">
                  <c:v>0.003537136670507464</c:v>
                </c:pt>
                <c:pt idx="7">
                  <c:v>0.04972458387730475</c:v>
                </c:pt>
                <c:pt idx="8">
                  <c:v>0.0045530927802575226</c:v>
                </c:pt>
                <c:pt idx="10">
                  <c:v>0.00536529059072900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6817300093635132</c:v>
                </c:pt>
                <c:pt idx="3">
                  <c:v>0.0061487931777396134</c:v>
                </c:pt>
                <c:pt idx="4">
                  <c:v>0.008266247999616144</c:v>
                </c:pt>
                <c:pt idx="5">
                  <c:v>0.01436010637779434</c:v>
                </c:pt>
                <c:pt idx="6">
                  <c:v>0.003559703800256386</c:v>
                </c:pt>
                <c:pt idx="7">
                  <c:v>0.038876183071099475</c:v>
                </c:pt>
                <c:pt idx="8">
                  <c:v>0.030279369167794137</c:v>
                </c:pt>
                <c:pt idx="9">
                  <c:v>0.0203298471756407</c:v>
                </c:pt>
                <c:pt idx="10">
                  <c:v>0.03347872570488808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983468920060802</c:v>
                </c:pt>
                <c:pt idx="1">
                  <c:v>0.0032359952530303083</c:v>
                </c:pt>
                <c:pt idx="2">
                  <c:v>0.0041514543824651</c:v>
                </c:pt>
                <c:pt idx="3">
                  <c:v>0.006317294522084046</c:v>
                </c:pt>
                <c:pt idx="4">
                  <c:v>0.025210930982258822</c:v>
                </c:pt>
                <c:pt idx="5">
                  <c:v>0.06588032705972598</c:v>
                </c:pt>
                <c:pt idx="6">
                  <c:v>0.014166645137899279</c:v>
                </c:pt>
                <c:pt idx="7">
                  <c:v>0.007121340595957358</c:v>
                </c:pt>
                <c:pt idx="8">
                  <c:v>0.03010983721920337</c:v>
                </c:pt>
                <c:pt idx="10">
                  <c:v>0.00222700837991907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734815821609363</c:v>
                </c:pt>
                <c:pt idx="4">
                  <c:v>0.0029885767359849693</c:v>
                </c:pt>
                <c:pt idx="5">
                  <c:v>0.00372516886362787</c:v>
                </c:pt>
                <c:pt idx="6">
                  <c:v>0.012231245494500597</c:v>
                </c:pt>
                <c:pt idx="7">
                  <c:v>0.013711795875223731</c:v>
                </c:pt>
                <c:pt idx="8">
                  <c:v>0.04813655829654773</c:v>
                </c:pt>
                <c:pt idx="9">
                  <c:v>0.0070262163140070825</c:v>
                </c:pt>
                <c:pt idx="10">
                  <c:v>0.01431969721827215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7729470884931494</c:v>
                </c:pt>
                <c:pt idx="1">
                  <c:v>0.016242939406784184</c:v>
                </c:pt>
                <c:pt idx="2">
                  <c:v>0.005574643088364364</c:v>
                </c:pt>
                <c:pt idx="3">
                  <c:v>0.0173494197837621</c:v>
                </c:pt>
                <c:pt idx="4">
                  <c:v>0.05573917805308229</c:v>
                </c:pt>
                <c:pt idx="5">
                  <c:v>0.026416464022414845</c:v>
                </c:pt>
                <c:pt idx="6">
                  <c:v>0.12090593911286124</c:v>
                </c:pt>
                <c:pt idx="7">
                  <c:v>0.18323006820609378</c:v>
                </c:pt>
                <c:pt idx="8">
                  <c:v>0.051848063785188164</c:v>
                </c:pt>
                <c:pt idx="9">
                  <c:v>0.06475503583623722</c:v>
                </c:pt>
                <c:pt idx="10">
                  <c:v>0.025822839187337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640974592947153</c:v>
                </c:pt>
                <c:pt idx="7">
                  <c:v>0.0028472287919499976</c:v>
                </c:pt>
                <c:pt idx="8">
                  <c:v>0.014901809772497339</c:v>
                </c:pt>
                <c:pt idx="9">
                  <c:v>0.0024272371454792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612531659282514</c:v>
                </c:pt>
                <c:pt idx="1">
                  <c:v>0.009144575977012723</c:v>
                </c:pt>
                <c:pt idx="4">
                  <c:v>0.0021622901898100673</c:v>
                </c:pt>
                <c:pt idx="6">
                  <c:v>0.014983277323218287</c:v>
                </c:pt>
                <c:pt idx="7">
                  <c:v>0.026652613209967556</c:v>
                </c:pt>
                <c:pt idx="10">
                  <c:v>0.00082345769268100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5360275196546936</c:v>
                </c:pt>
                <c:pt idx="3">
                  <c:v>0.010556050884521962</c:v>
                </c:pt>
                <c:pt idx="5">
                  <c:v>0.010404744901293957</c:v>
                </c:pt>
                <c:pt idx="7">
                  <c:v>0.017657706587330464</c:v>
                </c:pt>
                <c:pt idx="9">
                  <c:v>0.0098319374367049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5360275196546936</c:v>
                </c:pt>
                <c:pt idx="3">
                  <c:v>0.00349185558543508</c:v>
                </c:pt>
                <c:pt idx="5">
                  <c:v>0.0015039702329626577</c:v>
                </c:pt>
                <c:pt idx="8">
                  <c:v>0.00534502686613573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9944226281113691</c:v>
                </c:pt>
                <c:pt idx="4">
                  <c:v>0.004602225492011705</c:v>
                </c:pt>
                <c:pt idx="5">
                  <c:v>0.020869756979426776</c:v>
                </c:pt>
                <c:pt idx="7">
                  <c:v>0.03703542711868748</c:v>
                </c:pt>
                <c:pt idx="9">
                  <c:v>0.00396402662715878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77646607257922775</c:v>
                </c:pt>
                <c:pt idx="6">
                  <c:v>0.010109201833736462</c:v>
                </c:pt>
                <c:pt idx="7">
                  <c:v>0.033744871378496306</c:v>
                </c:pt>
                <c:pt idx="8">
                  <c:v>0.0007128312038116128</c:v>
                </c:pt>
                <c:pt idx="9">
                  <c:v>0.0344050244002559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8818946589602517</c:v>
                </c:pt>
                <c:pt idx="1">
                  <c:v>0.008101246606182489</c:v>
                </c:pt>
                <c:pt idx="4">
                  <c:v>0.026235159241452824</c:v>
                </c:pt>
                <c:pt idx="6">
                  <c:v>0.052546900470932335</c:v>
                </c:pt>
                <c:pt idx="8">
                  <c:v>0.022457336889531127</c:v>
                </c:pt>
                <c:pt idx="10">
                  <c:v>0.00167735329193442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840399175129058</c:v>
                </c:pt>
                <c:pt idx="5">
                  <c:v>0.013447189324231</c:v>
                </c:pt>
                <c:pt idx="7">
                  <c:v>0.039921004369163564</c:v>
                </c:pt>
                <c:pt idx="9">
                  <c:v>0.007560843531186885</c:v>
                </c:pt>
                <c:pt idx="12">
                  <c:v>0.00211240284488017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458788053689607</c:v>
                </c:pt>
                <c:pt idx="8">
                  <c:v>0.012883997949469383</c:v>
                </c:pt>
                <c:pt idx="9">
                  <c:v>0.00139418594867226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1114729787989533</c:v>
                </c:pt>
                <c:pt idx="4">
                  <c:v>0.0016470285753811377</c:v>
                </c:pt>
                <c:pt idx="6">
                  <c:v>0.032902193120447835</c:v>
                </c:pt>
                <c:pt idx="7">
                  <c:v>0.03710984204051249</c:v>
                </c:pt>
                <c:pt idx="10">
                  <c:v>0.00131952163660568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748116187982351</c:v>
                </c:pt>
                <c:pt idx="2">
                  <c:v>0.0007621540983895441</c:v>
                </c:pt>
                <c:pt idx="3">
                  <c:v>0.012324022064329492</c:v>
                </c:pt>
                <c:pt idx="4">
                  <c:v>0.003722738334853259</c:v>
                </c:pt>
                <c:pt idx="6">
                  <c:v>0.01048779443065141</c:v>
                </c:pt>
                <c:pt idx="7">
                  <c:v>0.020445255855206516</c:v>
                </c:pt>
                <c:pt idx="8">
                  <c:v>0.00292881155437045</c:v>
                </c:pt>
                <c:pt idx="9">
                  <c:v>0.0115904137661613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6062127669666175</c:v>
                </c:pt>
                <c:pt idx="4">
                  <c:v>0.0035369017885107774</c:v>
                </c:pt>
                <c:pt idx="5">
                  <c:v>0.004224226855417358</c:v>
                </c:pt>
                <c:pt idx="6">
                  <c:v>0.02273408190630583</c:v>
                </c:pt>
                <c:pt idx="7">
                  <c:v>0.005115878144192976</c:v>
                </c:pt>
                <c:pt idx="8">
                  <c:v>0.04236172119681482</c:v>
                </c:pt>
                <c:pt idx="10">
                  <c:v>0.0050337383973985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7290459149053223</c:v>
                </c:pt>
                <c:pt idx="8">
                  <c:v>0.0058823743706406416</c:v>
                </c:pt>
                <c:pt idx="9">
                  <c:v>0.001379169517839528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06044301170717824</c:v>
                </c:pt>
                <c:pt idx="3">
                  <c:v>0.005326441898105691</c:v>
                </c:pt>
                <c:pt idx="4">
                  <c:v>0.008128931562217888</c:v>
                </c:pt>
                <c:pt idx="5">
                  <c:v>0.011814633175798995</c:v>
                </c:pt>
                <c:pt idx="6">
                  <c:v>0.0037285724745047613</c:v>
                </c:pt>
                <c:pt idx="7">
                  <c:v>0.03295273784667</c:v>
                </c:pt>
                <c:pt idx="8">
                  <c:v>0.019281564892466</c:v>
                </c:pt>
                <c:pt idx="9">
                  <c:v>0.033300692341397944</c:v>
                </c:pt>
                <c:pt idx="10">
                  <c:v>0.02025129036045092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1487565144139377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3315293035130803</c:v>
                </c:pt>
                <c:pt idx="1">
                  <c:v>0.006204811080744046</c:v>
                </c:pt>
                <c:pt idx="2">
                  <c:v>0.004201892603418437</c:v>
                </c:pt>
                <c:pt idx="3">
                  <c:v>0.007040837054114585</c:v>
                </c:pt>
                <c:pt idx="4">
                  <c:v>0.026102892554746494</c:v>
                </c:pt>
                <c:pt idx="5">
                  <c:v>0.013144414653011565</c:v>
                </c:pt>
                <c:pt idx="6">
                  <c:v>0.061355545112520615</c:v>
                </c:pt>
                <c:pt idx="7">
                  <c:v>0.02558516273098455</c:v>
                </c:pt>
                <c:pt idx="8">
                  <c:v>0.00623747197217021</c:v>
                </c:pt>
                <c:pt idx="9">
                  <c:v>0.00149760274571419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981496574156804</c:v>
                </c:pt>
                <c:pt idx="1">
                  <c:v>0.014758216061326115</c:v>
                </c:pt>
                <c:pt idx="4">
                  <c:v>0.05600399986706008</c:v>
                </c:pt>
                <c:pt idx="6">
                  <c:v>0.10802367231498948</c:v>
                </c:pt>
                <c:pt idx="7">
                  <c:v>0.0013632068491774274</c:v>
                </c:pt>
                <c:pt idx="8">
                  <c:v>0.16370034429267832</c:v>
                </c:pt>
                <c:pt idx="10">
                  <c:v>0.0588333712359133</c:v>
                </c:pt>
                <c:pt idx="11">
                  <c:v>0.00213280737182434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5543481411967156</c:v>
                </c:pt>
                <c:pt idx="4">
                  <c:v>0.0012593493713512057</c:v>
                </c:pt>
                <c:pt idx="5">
                  <c:v>0.005165281363487752</c:v>
                </c:pt>
                <c:pt idx="6">
                  <c:v>0.013863694031494112</c:v>
                </c:pt>
                <c:pt idx="7">
                  <c:v>0.04691435769675467</c:v>
                </c:pt>
                <c:pt idx="8">
                  <c:v>0.014322560724192992</c:v>
                </c:pt>
                <c:pt idx="9">
                  <c:v>0.011915189920600387</c:v>
                </c:pt>
                <c:pt idx="10">
                  <c:v>0.00449520505169723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501904560902816</c:v>
                </c:pt>
                <c:pt idx="7">
                  <c:v>0.014970832879663212</c:v>
                </c:pt>
                <c:pt idx="8">
                  <c:v>0.0039358915952222495</c:v>
                </c:pt>
                <c:pt idx="10">
                  <c:v>0.00141739866496482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8683280720899879</c:v>
                </c:pt>
                <c:pt idx="1">
                  <c:v>0.009880025263925264</c:v>
                </c:pt>
                <c:pt idx="4">
                  <c:v>0.001581206590789193</c:v>
                </c:pt>
                <c:pt idx="5">
                  <c:v>0.02103873803653275</c:v>
                </c:pt>
                <c:pt idx="8">
                  <c:v>0.0279463314705986</c:v>
                </c:pt>
                <c:pt idx="10">
                  <c:v>0.00097607246652277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28474788056236087</c:v>
                </c:pt>
                <c:pt idx="5">
                  <c:v>0.0018326672818652619</c:v>
                </c:pt>
                <c:pt idx="8">
                  <c:v>0.004807688235903353</c:v>
                </c:pt>
                <c:pt idx="9">
                  <c:v>0.0027327926886363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8283245987377687</c:v>
                </c:pt>
                <c:pt idx="2">
                  <c:v>0.011445622084013184</c:v>
                </c:pt>
                <c:pt idx="3">
                  <c:v>0.014343872319305563</c:v>
                </c:pt>
                <c:pt idx="4">
                  <c:v>0.002566717425559086</c:v>
                </c:pt>
                <c:pt idx="6">
                  <c:v>0.00950888396172406</c:v>
                </c:pt>
                <c:pt idx="7">
                  <c:v>0.018717785323265373</c:v>
                </c:pt>
                <c:pt idx="8">
                  <c:v>0.0020299049094862636</c:v>
                </c:pt>
                <c:pt idx="9">
                  <c:v>0.015938341218211215</c:v>
                </c:pt>
                <c:pt idx="10">
                  <c:v>0.0010126021544095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735036368468147</c:v>
                </c:pt>
                <c:pt idx="4">
                  <c:v>0.004170661023724595</c:v>
                </c:pt>
                <c:pt idx="5">
                  <c:v>0.020283041246656135</c:v>
                </c:pt>
                <c:pt idx="6">
                  <c:v>0.003537136670507464</c:v>
                </c:pt>
                <c:pt idx="7">
                  <c:v>0.04972458387730475</c:v>
                </c:pt>
                <c:pt idx="8">
                  <c:v>0.0045530927802575226</c:v>
                </c:pt>
                <c:pt idx="10">
                  <c:v>0.00536529059072900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18658240570478485</c:v>
                </c:pt>
                <c:pt idx="8">
                  <c:v>0.006708600744817362</c:v>
                </c:pt>
                <c:pt idx="9">
                  <c:v>0.00139570927521486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6817300093635132</c:v>
                </c:pt>
                <c:pt idx="3">
                  <c:v>0.0061487931777396134</c:v>
                </c:pt>
                <c:pt idx="4">
                  <c:v>0.008266247999616144</c:v>
                </c:pt>
                <c:pt idx="5">
                  <c:v>0.01436010637779434</c:v>
                </c:pt>
                <c:pt idx="6">
                  <c:v>0.003559703800256386</c:v>
                </c:pt>
                <c:pt idx="7">
                  <c:v>0.038876183071099475</c:v>
                </c:pt>
                <c:pt idx="8">
                  <c:v>0.030279369167794137</c:v>
                </c:pt>
                <c:pt idx="9">
                  <c:v>0.0203298471756407</c:v>
                </c:pt>
                <c:pt idx="10">
                  <c:v>0.03347872570488808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3532475102739827</c:v>
                </c:pt>
                <c:pt idx="8">
                  <c:v>0.0008638515606091015</c:v>
                </c:pt>
                <c:pt idx="10">
                  <c:v>0.01222687029422995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251239837528588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983468920060802</c:v>
                </c:pt>
                <c:pt idx="1">
                  <c:v>0.0032359952530303083</c:v>
                </c:pt>
                <c:pt idx="2">
                  <c:v>0.0041514543824651</c:v>
                </c:pt>
                <c:pt idx="3">
                  <c:v>0.006317294522084046</c:v>
                </c:pt>
                <c:pt idx="4">
                  <c:v>0.025210930982258822</c:v>
                </c:pt>
                <c:pt idx="5">
                  <c:v>0.06588032705972598</c:v>
                </c:pt>
                <c:pt idx="6">
                  <c:v>0.014166645137899279</c:v>
                </c:pt>
                <c:pt idx="7">
                  <c:v>0.007121340595957358</c:v>
                </c:pt>
                <c:pt idx="8">
                  <c:v>0.03010983721920337</c:v>
                </c:pt>
                <c:pt idx="10">
                  <c:v>0.00222700837991907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734815821609363</c:v>
                </c:pt>
                <c:pt idx="4">
                  <c:v>0.0029885767359849693</c:v>
                </c:pt>
                <c:pt idx="5">
                  <c:v>0.00372516886362787</c:v>
                </c:pt>
                <c:pt idx="6">
                  <c:v>0.012231245494500597</c:v>
                </c:pt>
                <c:pt idx="7">
                  <c:v>0.013711795875223731</c:v>
                </c:pt>
                <c:pt idx="8">
                  <c:v>0.04813655829654773</c:v>
                </c:pt>
                <c:pt idx="9">
                  <c:v>0.0070262163140070825</c:v>
                </c:pt>
                <c:pt idx="10">
                  <c:v>0.01431969721827215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640974592947153</c:v>
                </c:pt>
                <c:pt idx="7">
                  <c:v>0.0028472287919499976</c:v>
                </c:pt>
                <c:pt idx="8">
                  <c:v>0.014901809772497339</c:v>
                </c:pt>
                <c:pt idx="9">
                  <c:v>0.0024272371454792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612531659282514</c:v>
                </c:pt>
                <c:pt idx="1">
                  <c:v>0.009144575977012723</c:v>
                </c:pt>
                <c:pt idx="4">
                  <c:v>0.0021622901898100673</c:v>
                </c:pt>
                <c:pt idx="6">
                  <c:v>0.014983277323218287</c:v>
                </c:pt>
                <c:pt idx="7">
                  <c:v>0.026652613209967556</c:v>
                </c:pt>
                <c:pt idx="10">
                  <c:v>0.00082345769268100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5360275196546936</c:v>
                </c:pt>
                <c:pt idx="3">
                  <c:v>0.010556050884521962</c:v>
                </c:pt>
                <c:pt idx="5">
                  <c:v>0.010404744901293957</c:v>
                </c:pt>
                <c:pt idx="7">
                  <c:v>0.017657706587330464</c:v>
                </c:pt>
                <c:pt idx="9">
                  <c:v>0.0098319374367049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9944226281113691</c:v>
                </c:pt>
                <c:pt idx="4">
                  <c:v>0.004602225492011705</c:v>
                </c:pt>
                <c:pt idx="5">
                  <c:v>0.020869756979426776</c:v>
                </c:pt>
                <c:pt idx="7">
                  <c:v>0.03703542711868748</c:v>
                </c:pt>
                <c:pt idx="9">
                  <c:v>0.00396402662715878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2188937399025017</c:v>
                </c:pt>
                <c:pt idx="5">
                  <c:v>0.011827676805503071</c:v>
                </c:pt>
                <c:pt idx="7">
                  <c:v>0.011353585956278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2458112429236194</c:v>
                </c:pt>
                <c:pt idx="8">
                  <c:v>0.005822911857496773</c:v>
                </c:pt>
                <c:pt idx="9">
                  <c:v>0.001671510739352001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77646607257922775</c:v>
                </c:pt>
                <c:pt idx="6">
                  <c:v>0.010109201833736462</c:v>
                </c:pt>
                <c:pt idx="7">
                  <c:v>0.033744871378496306</c:v>
                </c:pt>
                <c:pt idx="8">
                  <c:v>0.0007128312038116128</c:v>
                </c:pt>
                <c:pt idx="9">
                  <c:v>0.0344050244002559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1242197872475864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8818946589602517</c:v>
                </c:pt>
                <c:pt idx="1">
                  <c:v>0.008101246606182489</c:v>
                </c:pt>
                <c:pt idx="4">
                  <c:v>0.026235159241452824</c:v>
                </c:pt>
                <c:pt idx="6">
                  <c:v>0.052546900470932335</c:v>
                </c:pt>
                <c:pt idx="8">
                  <c:v>0.022457336889531127</c:v>
                </c:pt>
                <c:pt idx="10">
                  <c:v>0.00167735329193442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840399175129058</c:v>
                </c:pt>
                <c:pt idx="5">
                  <c:v>0.013447189324231</c:v>
                </c:pt>
                <c:pt idx="7">
                  <c:v>0.039921004369163564</c:v>
                </c:pt>
                <c:pt idx="9">
                  <c:v>0.007560843531186885</c:v>
                </c:pt>
                <c:pt idx="12">
                  <c:v>0.00211240284488017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458788053689607</c:v>
                </c:pt>
                <c:pt idx="8">
                  <c:v>0.012883997949469383</c:v>
                </c:pt>
                <c:pt idx="9">
                  <c:v>0.00139418594867226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1114729787989533</c:v>
                </c:pt>
                <c:pt idx="4">
                  <c:v>0.0016470285753811377</c:v>
                </c:pt>
                <c:pt idx="6">
                  <c:v>0.032902193120447835</c:v>
                </c:pt>
                <c:pt idx="7">
                  <c:v>0.03710984204051249</c:v>
                </c:pt>
                <c:pt idx="10">
                  <c:v>0.00131952163660568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36451473003585645</c:v>
                </c:pt>
                <c:pt idx="6">
                  <c:v>0.0017075965277870697</c:v>
                </c:pt>
                <c:pt idx="7">
                  <c:v>0.0063088928781969604</c:v>
                </c:pt>
                <c:pt idx="9">
                  <c:v>0.00313479778224108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7729470884931494</c:v>
                </c:pt>
                <c:pt idx="1">
                  <c:v>0.016242939406784184</c:v>
                </c:pt>
                <c:pt idx="2">
                  <c:v>0.005574643088364364</c:v>
                </c:pt>
                <c:pt idx="3">
                  <c:v>0.0173494197837621</c:v>
                </c:pt>
                <c:pt idx="4">
                  <c:v>0.05573917805308229</c:v>
                </c:pt>
                <c:pt idx="5">
                  <c:v>0.026416464022414845</c:v>
                </c:pt>
                <c:pt idx="6">
                  <c:v>0.12090593911286124</c:v>
                </c:pt>
                <c:pt idx="7">
                  <c:v>0.18323006820609378</c:v>
                </c:pt>
                <c:pt idx="8">
                  <c:v>0.051848063785188164</c:v>
                </c:pt>
                <c:pt idx="9">
                  <c:v>0.06475503583623722</c:v>
                </c:pt>
                <c:pt idx="10">
                  <c:v>0.025822839187337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49103290439469</c:v>
                </c:pt>
                <c:pt idx="3">
                  <c:v>0.0038405875699152707</c:v>
                </c:pt>
                <c:pt idx="5">
                  <c:v>0.002419551684516405</c:v>
                </c:pt>
                <c:pt idx="8">
                  <c:v>0.004713507868072585</c:v>
                </c:pt>
                <c:pt idx="9">
                  <c:v>0.000938812310115034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2979111242508808</c:v>
                </c:pt>
                <c:pt idx="7">
                  <c:v>0.0006723590290709871</c:v>
                </c:pt>
                <c:pt idx="9">
                  <c:v>0.000864626056624322</c:v>
                </c:pt>
                <c:pt idx="10">
                  <c:v>0.0120049849899189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5777174625713112</c:v>
                </c:pt>
                <c:pt idx="5">
                  <c:v>0.006898128376986435</c:v>
                </c:pt>
                <c:pt idx="7">
                  <c:v>0.0102361604174431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2979111242508808</c:v>
                </c:pt>
                <c:pt idx="7">
                  <c:v>0.0006723590290709871</c:v>
                </c:pt>
                <c:pt idx="9">
                  <c:v>0.000864626056624322</c:v>
                </c:pt>
                <c:pt idx="10">
                  <c:v>0.0120049849899189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8">
                  <c:v>0.000665823583513190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695392693924818</c:v>
                </c:pt>
                <c:pt idx="1">
                  <c:v>0.005180330610900752</c:v>
                </c:pt>
                <c:pt idx="2">
                  <c:v>0.019751447083304438</c:v>
                </c:pt>
                <c:pt idx="3">
                  <c:v>0.018021381861367713</c:v>
                </c:pt>
                <c:pt idx="4">
                  <c:v>0.058820898666405046</c:v>
                </c:pt>
                <c:pt idx="5">
                  <c:v>0.02542298719734325</c:v>
                </c:pt>
                <c:pt idx="6">
                  <c:v>0.12290457873334826</c:v>
                </c:pt>
                <c:pt idx="7">
                  <c:v>0.20046675755991802</c:v>
                </c:pt>
                <c:pt idx="8">
                  <c:v>0.06054273212066901</c:v>
                </c:pt>
                <c:pt idx="9">
                  <c:v>0.028608372595414815</c:v>
                </c:pt>
                <c:pt idx="10">
                  <c:v>0.073756300257498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10812154895849335</c:v>
                </c:pt>
                <c:pt idx="3">
                  <c:v>0.0053404629914445435</c:v>
                </c:pt>
                <c:pt idx="5">
                  <c:v>0.0006635302896854183</c:v>
                </c:pt>
                <c:pt idx="8">
                  <c:v>0.006641506121779015</c:v>
                </c:pt>
                <c:pt idx="9">
                  <c:v>0.00140489488263383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4819724022557313</c:v>
                </c:pt>
                <c:pt idx="6">
                  <c:v>0.0005666992225728331</c:v>
                </c:pt>
                <c:pt idx="7">
                  <c:v>0.0006014457752455238</c:v>
                </c:pt>
                <c:pt idx="9">
                  <c:v>0.0010755057623986581</c:v>
                </c:pt>
                <c:pt idx="10">
                  <c:v>0.0142688701361109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468612647561428</c:v>
                </c:pt>
                <c:pt idx="7">
                  <c:v>0.0091747125764599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8">
                  <c:v>0.0013174078518021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981496574156804</c:v>
                </c:pt>
                <c:pt idx="1">
                  <c:v>0.014758216061326115</c:v>
                </c:pt>
                <c:pt idx="4">
                  <c:v>0.05600399986706008</c:v>
                </c:pt>
                <c:pt idx="6">
                  <c:v>0.10802367231498948</c:v>
                </c:pt>
                <c:pt idx="7">
                  <c:v>0.0013632068491774274</c:v>
                </c:pt>
                <c:pt idx="8">
                  <c:v>0.16370034429267832</c:v>
                </c:pt>
                <c:pt idx="10">
                  <c:v>0.0588333712359133</c:v>
                </c:pt>
                <c:pt idx="11">
                  <c:v>0.00213280737182434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5360275196546936</c:v>
                </c:pt>
                <c:pt idx="3">
                  <c:v>0.00349185558543508</c:v>
                </c:pt>
                <c:pt idx="5">
                  <c:v>0.0015039702329626577</c:v>
                </c:pt>
                <c:pt idx="8">
                  <c:v>0.00534502686613573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3532475102739827</c:v>
                </c:pt>
                <c:pt idx="8">
                  <c:v>0.0008638515606091015</c:v>
                </c:pt>
                <c:pt idx="10">
                  <c:v>0.01222687029422995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5777174625713112</c:v>
                </c:pt>
                <c:pt idx="5">
                  <c:v>0.006898128376986435</c:v>
                </c:pt>
                <c:pt idx="7">
                  <c:v>0.0102361604174431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2188937399025017</c:v>
                </c:pt>
                <c:pt idx="5">
                  <c:v>0.011827676805503071</c:v>
                </c:pt>
                <c:pt idx="7">
                  <c:v>0.011353585956278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712214035597873</c:v>
                </c:pt>
                <c:pt idx="1">
                  <c:v>0.06814721198565897</c:v>
                </c:pt>
                <c:pt idx="2">
                  <c:v>0.005575455790256509</c:v>
                </c:pt>
                <c:pt idx="3">
                  <c:v>0.11028045551334938</c:v>
                </c:pt>
                <c:pt idx="4">
                  <c:v>0.017387101469783735</c:v>
                </c:pt>
                <c:pt idx="5">
                  <c:v>0.20733639545642585</c:v>
                </c:pt>
                <c:pt idx="6">
                  <c:v>0.026923792213839906</c:v>
                </c:pt>
                <c:pt idx="7">
                  <c:v>0.051957357396912054</c:v>
                </c:pt>
                <c:pt idx="8">
                  <c:v>0.3308461997880531</c:v>
                </c:pt>
                <c:pt idx="9">
                  <c:v>0.12682383401021838</c:v>
                </c:pt>
                <c:pt idx="10">
                  <c:v>0.026739845540273522</c:v>
                </c:pt>
                <c:pt idx="11">
                  <c:v>0.00080540545507086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7729470884931494</c:v>
                </c:pt>
                <c:pt idx="1">
                  <c:v>0.016242939406784184</c:v>
                </c:pt>
                <c:pt idx="2">
                  <c:v>0.005574643088364364</c:v>
                </c:pt>
                <c:pt idx="3">
                  <c:v>0.0173494197837621</c:v>
                </c:pt>
                <c:pt idx="4">
                  <c:v>0.05573917805308229</c:v>
                </c:pt>
                <c:pt idx="5">
                  <c:v>0.026416464022414845</c:v>
                </c:pt>
                <c:pt idx="6">
                  <c:v>0.12090593911286124</c:v>
                </c:pt>
                <c:pt idx="7">
                  <c:v>0.18323006820609378</c:v>
                </c:pt>
                <c:pt idx="8">
                  <c:v>0.051848063785188164</c:v>
                </c:pt>
                <c:pt idx="9">
                  <c:v>0.06475503583623722</c:v>
                </c:pt>
                <c:pt idx="10">
                  <c:v>0.025822839187337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7290459149053223</c:v>
                </c:pt>
                <c:pt idx="7">
                  <c:v>0.0058823743706406416</c:v>
                </c:pt>
                <c:pt idx="10">
                  <c:v>0.0028667346619789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2979111242508808</c:v>
                </c:pt>
                <c:pt idx="7">
                  <c:v>0.0006723590290709871</c:v>
                </c:pt>
                <c:pt idx="9">
                  <c:v>0.000864626056624322</c:v>
                </c:pt>
                <c:pt idx="10">
                  <c:v>0.0120049849899189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2341412417121375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5777174625713112</c:v>
                </c:pt>
                <c:pt idx="5">
                  <c:v>0.006898128376986435</c:v>
                </c:pt>
                <c:pt idx="7">
                  <c:v>0.01023616041744312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8899443980434345</c:v>
                </c:pt>
                <c:pt idx="1">
                  <c:v>0.06475586677898293</c:v>
                </c:pt>
                <c:pt idx="2">
                  <c:v>0.005180354293565684</c:v>
                </c:pt>
                <c:pt idx="3">
                  <c:v>0.10461701106794237</c:v>
                </c:pt>
                <c:pt idx="4">
                  <c:v>0.018021381861367713</c:v>
                </c:pt>
                <c:pt idx="5">
                  <c:v>0.1998874942752772</c:v>
                </c:pt>
                <c:pt idx="6">
                  <c:v>0.025989686419916082</c:v>
                </c:pt>
                <c:pt idx="7">
                  <c:v>0.06060776553521469</c:v>
                </c:pt>
                <c:pt idx="8">
                  <c:v>0.3320802949648151</c:v>
                </c:pt>
                <c:pt idx="9">
                  <c:v>0.12980514707688276</c:v>
                </c:pt>
                <c:pt idx="10">
                  <c:v>0.029774651562565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695392693924818</c:v>
                </c:pt>
                <c:pt idx="1">
                  <c:v>0.005180330610900752</c:v>
                </c:pt>
                <c:pt idx="2">
                  <c:v>0.019751447083304438</c:v>
                </c:pt>
                <c:pt idx="3">
                  <c:v>0.018021381861367713</c:v>
                </c:pt>
                <c:pt idx="4">
                  <c:v>0.058820898666405046</c:v>
                </c:pt>
                <c:pt idx="5">
                  <c:v>0.02542298719734325</c:v>
                </c:pt>
                <c:pt idx="6">
                  <c:v>0.12290457873334826</c:v>
                </c:pt>
                <c:pt idx="7">
                  <c:v>0.20046675755991802</c:v>
                </c:pt>
                <c:pt idx="8">
                  <c:v>0.06054273212066901</c:v>
                </c:pt>
                <c:pt idx="9">
                  <c:v>0.028608372595414815</c:v>
                </c:pt>
                <c:pt idx="10">
                  <c:v>0.073756300257498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18658240570478485</c:v>
                </c:pt>
                <c:pt idx="7">
                  <c:v>0.006708600744817362</c:v>
                </c:pt>
                <c:pt idx="10">
                  <c:v>0.00390810765050075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4819724022557313</c:v>
                </c:pt>
                <c:pt idx="6">
                  <c:v>0.0005666992225728331</c:v>
                </c:pt>
                <c:pt idx="7">
                  <c:v>0.0006014457752455238</c:v>
                </c:pt>
                <c:pt idx="9">
                  <c:v>0.0010755057623986581</c:v>
                </c:pt>
                <c:pt idx="10">
                  <c:v>0.0142688701361109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296210441645319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468612647561428</c:v>
                </c:pt>
                <c:pt idx="7">
                  <c:v>0.0091747125764599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28917147230058</c:v>
                </c:pt>
                <c:pt idx="1">
                  <c:v>0.08802611116681852</c:v>
                </c:pt>
                <c:pt idx="3">
                  <c:v>0.14262715024337333</c:v>
                </c:pt>
                <c:pt idx="5">
                  <c:v>0.22104468597369087</c:v>
                </c:pt>
                <c:pt idx="6">
                  <c:v>0.0009693855530901747</c:v>
                </c:pt>
                <c:pt idx="7">
                  <c:v>0.0018661928617754457</c:v>
                </c:pt>
                <c:pt idx="8">
                  <c:v>0.36373832536069917</c:v>
                </c:pt>
                <c:pt idx="9">
                  <c:v>0.1479064666886797</c:v>
                </c:pt>
                <c:pt idx="11">
                  <c:v>0.0038765162308540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981496574156804</c:v>
                </c:pt>
                <c:pt idx="1">
                  <c:v>0.014758216061326115</c:v>
                </c:pt>
                <c:pt idx="4">
                  <c:v>0.05600399986706008</c:v>
                </c:pt>
                <c:pt idx="6">
                  <c:v>0.10802367231498948</c:v>
                </c:pt>
                <c:pt idx="7">
                  <c:v>0.0013632068491774274</c:v>
                </c:pt>
                <c:pt idx="8">
                  <c:v>0.16370034429267832</c:v>
                </c:pt>
                <c:pt idx="10">
                  <c:v>0.0588333712359133</c:v>
                </c:pt>
                <c:pt idx="11">
                  <c:v>0.00213280737182434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458112429236194</c:v>
                </c:pt>
                <c:pt idx="7">
                  <c:v>0.005822911857496773</c:v>
                </c:pt>
                <c:pt idx="10">
                  <c:v>0.00291370861182786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3532475102739827</c:v>
                </c:pt>
                <c:pt idx="8">
                  <c:v>0.0008638515606091015</c:v>
                </c:pt>
                <c:pt idx="10">
                  <c:v>0.01222687029422995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300374985725073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2188937399025017</c:v>
                </c:pt>
                <c:pt idx="5">
                  <c:v>0.011827676805503071</c:v>
                </c:pt>
                <c:pt idx="7">
                  <c:v>0.011353585956278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0503682315836589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507400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027391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7858053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131917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300732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740684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88958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693953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374417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53011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05842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0630876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76955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18293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66805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153388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605727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62429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628724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87522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1907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16700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41129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7488929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723598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695326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235629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